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2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7F5BEC-9289-752C-7F59-5FE15DD004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C0599B7-2DCA-2CA2-8ACB-570423FBC8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0599B7-2DCA-2CA2-8ACB-570423FBC8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D7537A5-A09C-36D3-3289-41655C386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rg. cha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5B839D-AF03-B89C-18F1-4AF08D9C71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8" name="Rectangle 15">
            <a:extLst>
              <a:ext uri="{FF2B5EF4-FFF2-40B4-BE49-F238E27FC236}">
                <a16:creationId xmlns:a16="http://schemas.microsoft.com/office/drawing/2014/main" id="{1352EABC-1802-758B-5A8F-8525B669079B}"/>
              </a:ext>
            </a:extLst>
          </p:cNvPr>
          <p:cNvSpPr/>
          <p:nvPr/>
        </p:nvSpPr>
        <p:spPr>
          <a:xfrm rot="5400000">
            <a:off x="7772947" y="1150802"/>
            <a:ext cx="805218" cy="2648361"/>
          </a:xfrm>
          <a:custGeom>
            <a:avLst/>
            <a:gdLst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7292 w 1177292"/>
              <a:gd name="connsiteY2" fmla="*/ 1879432 h 1879432"/>
              <a:gd name="connsiteX3" fmla="*/ 0 w 1177292"/>
              <a:gd name="connsiteY3" fmla="*/ 1879432 h 1879432"/>
              <a:gd name="connsiteX4" fmla="*/ 0 w 1177292"/>
              <a:gd name="connsiteY4" fmla="*/ 0 h 1879432"/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1575 w 1177292"/>
              <a:gd name="connsiteY2" fmla="*/ 954208 h 1879432"/>
              <a:gd name="connsiteX3" fmla="*/ 1177292 w 1177292"/>
              <a:gd name="connsiteY3" fmla="*/ 1879432 h 1879432"/>
              <a:gd name="connsiteX4" fmla="*/ 0 w 1177292"/>
              <a:gd name="connsiteY4" fmla="*/ 1879432 h 1879432"/>
              <a:gd name="connsiteX5" fmla="*/ 0 w 1177292"/>
              <a:gd name="connsiteY5" fmla="*/ 0 h 1879432"/>
              <a:gd name="connsiteX0" fmla="*/ 1171575 w 1263015"/>
              <a:gd name="connsiteY0" fmla="*/ 954208 h 1879432"/>
              <a:gd name="connsiteX1" fmla="*/ 1177292 w 1263015"/>
              <a:gd name="connsiteY1" fmla="*/ 1879432 h 1879432"/>
              <a:gd name="connsiteX2" fmla="*/ 0 w 1263015"/>
              <a:gd name="connsiteY2" fmla="*/ 1879432 h 1879432"/>
              <a:gd name="connsiteX3" fmla="*/ 0 w 1263015"/>
              <a:gd name="connsiteY3" fmla="*/ 0 h 1879432"/>
              <a:gd name="connsiteX4" fmla="*/ 1177292 w 1263015"/>
              <a:gd name="connsiteY4" fmla="*/ 0 h 1879432"/>
              <a:gd name="connsiteX5" fmla="*/ 1263015 w 1263015"/>
              <a:gd name="connsiteY5" fmla="*/ 1045648 h 1879432"/>
              <a:gd name="connsiteX0" fmla="*/ 1171575 w 1177292"/>
              <a:gd name="connsiteY0" fmla="*/ 954208 h 1879432"/>
              <a:gd name="connsiteX1" fmla="*/ 1177292 w 1177292"/>
              <a:gd name="connsiteY1" fmla="*/ 1879432 h 1879432"/>
              <a:gd name="connsiteX2" fmla="*/ 0 w 1177292"/>
              <a:gd name="connsiteY2" fmla="*/ 1879432 h 1879432"/>
              <a:gd name="connsiteX3" fmla="*/ 0 w 1177292"/>
              <a:gd name="connsiteY3" fmla="*/ 0 h 1879432"/>
              <a:gd name="connsiteX4" fmla="*/ 1177292 w 1177292"/>
              <a:gd name="connsiteY4" fmla="*/ 0 h 1879432"/>
              <a:gd name="connsiteX0" fmla="*/ 1177292 w 1177292"/>
              <a:gd name="connsiteY0" fmla="*/ 1879432 h 1879432"/>
              <a:gd name="connsiteX1" fmla="*/ 0 w 1177292"/>
              <a:gd name="connsiteY1" fmla="*/ 1879432 h 1879432"/>
              <a:gd name="connsiteX2" fmla="*/ 0 w 1177292"/>
              <a:gd name="connsiteY2" fmla="*/ 0 h 1879432"/>
              <a:gd name="connsiteX3" fmla="*/ 1177292 w 1177292"/>
              <a:gd name="connsiteY3" fmla="*/ 0 h 1879432"/>
              <a:gd name="connsiteX0" fmla="*/ 0 w 1177292"/>
              <a:gd name="connsiteY0" fmla="*/ 1879432 h 1879432"/>
              <a:gd name="connsiteX1" fmla="*/ 0 w 1177292"/>
              <a:gd name="connsiteY1" fmla="*/ 0 h 1879432"/>
              <a:gd name="connsiteX2" fmla="*/ 1177292 w 1177292"/>
              <a:gd name="connsiteY2" fmla="*/ 0 h 1879432"/>
              <a:gd name="connsiteX0" fmla="*/ 663 w 1177955"/>
              <a:gd name="connsiteY0" fmla="*/ 1879432 h 1879432"/>
              <a:gd name="connsiteX1" fmla="*/ 0 w 1177955"/>
              <a:gd name="connsiteY1" fmla="*/ 339432 h 1879432"/>
              <a:gd name="connsiteX2" fmla="*/ 663 w 1177955"/>
              <a:gd name="connsiteY2" fmla="*/ 0 h 1879432"/>
              <a:gd name="connsiteX3" fmla="*/ 1177955 w 1177955"/>
              <a:gd name="connsiteY3" fmla="*/ 0 h 1879432"/>
              <a:gd name="connsiteX0" fmla="*/ 0 w 1177955"/>
              <a:gd name="connsiteY0" fmla="*/ 339432 h 339432"/>
              <a:gd name="connsiteX1" fmla="*/ 663 w 1177955"/>
              <a:gd name="connsiteY1" fmla="*/ 0 h 339432"/>
              <a:gd name="connsiteX2" fmla="*/ 1177955 w 1177955"/>
              <a:gd name="connsiteY2" fmla="*/ 0 h 339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7955" h="339432">
                <a:moveTo>
                  <a:pt x="0" y="339432"/>
                </a:moveTo>
                <a:lnTo>
                  <a:pt x="663" y="0"/>
                </a:lnTo>
                <a:lnTo>
                  <a:pt x="1177955" y="0"/>
                </a:lnTo>
              </a:path>
            </a:pathLst>
          </a:custGeom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9" name="Rectangle 15">
            <a:extLst>
              <a:ext uri="{FF2B5EF4-FFF2-40B4-BE49-F238E27FC236}">
                <a16:creationId xmlns:a16="http://schemas.microsoft.com/office/drawing/2014/main" id="{686498E5-8A30-BA35-C92A-CEF3B46DB8E3}"/>
              </a:ext>
            </a:extLst>
          </p:cNvPr>
          <p:cNvSpPr/>
          <p:nvPr/>
        </p:nvSpPr>
        <p:spPr>
          <a:xfrm rot="5400000" flipV="1">
            <a:off x="3612730" y="1156107"/>
            <a:ext cx="805218" cy="2637750"/>
          </a:xfrm>
          <a:custGeom>
            <a:avLst/>
            <a:gdLst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7292 w 1177292"/>
              <a:gd name="connsiteY2" fmla="*/ 1879432 h 1879432"/>
              <a:gd name="connsiteX3" fmla="*/ 0 w 1177292"/>
              <a:gd name="connsiteY3" fmla="*/ 1879432 h 1879432"/>
              <a:gd name="connsiteX4" fmla="*/ 0 w 1177292"/>
              <a:gd name="connsiteY4" fmla="*/ 0 h 1879432"/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1575 w 1177292"/>
              <a:gd name="connsiteY2" fmla="*/ 954208 h 1879432"/>
              <a:gd name="connsiteX3" fmla="*/ 1177292 w 1177292"/>
              <a:gd name="connsiteY3" fmla="*/ 1879432 h 1879432"/>
              <a:gd name="connsiteX4" fmla="*/ 0 w 1177292"/>
              <a:gd name="connsiteY4" fmla="*/ 1879432 h 1879432"/>
              <a:gd name="connsiteX5" fmla="*/ 0 w 1177292"/>
              <a:gd name="connsiteY5" fmla="*/ 0 h 1879432"/>
              <a:gd name="connsiteX0" fmla="*/ 1171575 w 1263015"/>
              <a:gd name="connsiteY0" fmla="*/ 954208 h 1879432"/>
              <a:gd name="connsiteX1" fmla="*/ 1177292 w 1263015"/>
              <a:gd name="connsiteY1" fmla="*/ 1879432 h 1879432"/>
              <a:gd name="connsiteX2" fmla="*/ 0 w 1263015"/>
              <a:gd name="connsiteY2" fmla="*/ 1879432 h 1879432"/>
              <a:gd name="connsiteX3" fmla="*/ 0 w 1263015"/>
              <a:gd name="connsiteY3" fmla="*/ 0 h 1879432"/>
              <a:gd name="connsiteX4" fmla="*/ 1177292 w 1263015"/>
              <a:gd name="connsiteY4" fmla="*/ 0 h 1879432"/>
              <a:gd name="connsiteX5" fmla="*/ 1263015 w 1263015"/>
              <a:gd name="connsiteY5" fmla="*/ 1045648 h 1879432"/>
              <a:gd name="connsiteX0" fmla="*/ 1171575 w 1177292"/>
              <a:gd name="connsiteY0" fmla="*/ 954208 h 1879432"/>
              <a:gd name="connsiteX1" fmla="*/ 1177292 w 1177292"/>
              <a:gd name="connsiteY1" fmla="*/ 1879432 h 1879432"/>
              <a:gd name="connsiteX2" fmla="*/ 0 w 1177292"/>
              <a:gd name="connsiteY2" fmla="*/ 1879432 h 1879432"/>
              <a:gd name="connsiteX3" fmla="*/ 0 w 1177292"/>
              <a:gd name="connsiteY3" fmla="*/ 0 h 1879432"/>
              <a:gd name="connsiteX4" fmla="*/ 1177292 w 1177292"/>
              <a:gd name="connsiteY4" fmla="*/ 0 h 1879432"/>
              <a:gd name="connsiteX0" fmla="*/ 1177292 w 1177292"/>
              <a:gd name="connsiteY0" fmla="*/ 1879432 h 1879432"/>
              <a:gd name="connsiteX1" fmla="*/ 0 w 1177292"/>
              <a:gd name="connsiteY1" fmla="*/ 1879432 h 1879432"/>
              <a:gd name="connsiteX2" fmla="*/ 0 w 1177292"/>
              <a:gd name="connsiteY2" fmla="*/ 0 h 1879432"/>
              <a:gd name="connsiteX3" fmla="*/ 1177292 w 1177292"/>
              <a:gd name="connsiteY3" fmla="*/ 0 h 1879432"/>
              <a:gd name="connsiteX0" fmla="*/ 0 w 1177292"/>
              <a:gd name="connsiteY0" fmla="*/ 1879432 h 1879432"/>
              <a:gd name="connsiteX1" fmla="*/ 0 w 1177292"/>
              <a:gd name="connsiteY1" fmla="*/ 0 h 1879432"/>
              <a:gd name="connsiteX2" fmla="*/ 1177292 w 1177292"/>
              <a:gd name="connsiteY2" fmla="*/ 0 h 1879432"/>
              <a:gd name="connsiteX0" fmla="*/ 663 w 1177955"/>
              <a:gd name="connsiteY0" fmla="*/ 1879432 h 1879432"/>
              <a:gd name="connsiteX1" fmla="*/ 0 w 1177955"/>
              <a:gd name="connsiteY1" fmla="*/ 339432 h 1879432"/>
              <a:gd name="connsiteX2" fmla="*/ 663 w 1177955"/>
              <a:gd name="connsiteY2" fmla="*/ 0 h 1879432"/>
              <a:gd name="connsiteX3" fmla="*/ 1177955 w 1177955"/>
              <a:gd name="connsiteY3" fmla="*/ 0 h 1879432"/>
              <a:gd name="connsiteX0" fmla="*/ 0 w 1177955"/>
              <a:gd name="connsiteY0" fmla="*/ 339432 h 339432"/>
              <a:gd name="connsiteX1" fmla="*/ 663 w 1177955"/>
              <a:gd name="connsiteY1" fmla="*/ 0 h 339432"/>
              <a:gd name="connsiteX2" fmla="*/ 1177955 w 1177955"/>
              <a:gd name="connsiteY2" fmla="*/ 0 h 339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7955" h="339432">
                <a:moveTo>
                  <a:pt x="0" y="339432"/>
                </a:moveTo>
                <a:lnTo>
                  <a:pt x="663" y="0"/>
                </a:lnTo>
                <a:lnTo>
                  <a:pt x="1177955" y="0"/>
                </a:lnTo>
              </a:path>
            </a:pathLst>
          </a:custGeom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5BC9C9C-A504-2905-3EF1-ABBD0BF3BF88}"/>
              </a:ext>
            </a:extLst>
          </p:cNvPr>
          <p:cNvGrpSpPr/>
          <p:nvPr/>
        </p:nvGrpSpPr>
        <p:grpSpPr>
          <a:xfrm>
            <a:off x="5294575" y="1270535"/>
            <a:ext cx="1607050" cy="1607049"/>
            <a:chOff x="294317" y="3334459"/>
            <a:chExt cx="1534484" cy="1534484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FF26447D-071A-89B8-5B35-6AB727888AB3}"/>
                </a:ext>
              </a:extLst>
            </p:cNvPr>
            <p:cNvSpPr/>
            <p:nvPr/>
          </p:nvSpPr>
          <p:spPr>
            <a:xfrm>
              <a:off x="294317" y="3334459"/>
              <a:ext cx="1534484" cy="1534484"/>
            </a:xfrm>
            <a:prstGeom prst="ellipse">
              <a:avLst/>
            </a:prstGeom>
            <a:solidFill>
              <a:schemeClr val="bg1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0F3CBD68-FF85-9536-6FEC-149C5706F04F}"/>
                </a:ext>
              </a:extLst>
            </p:cNvPr>
            <p:cNvSpPr/>
            <p:nvPr/>
          </p:nvSpPr>
          <p:spPr>
            <a:xfrm>
              <a:off x="395284" y="3435426"/>
              <a:ext cx="1332550" cy="1332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4" name="Donut 82">
              <a:extLst>
                <a:ext uri="{FF2B5EF4-FFF2-40B4-BE49-F238E27FC236}">
                  <a16:creationId xmlns:a16="http://schemas.microsoft.com/office/drawing/2014/main" id="{497B7A3D-A514-E167-19C0-AC591F873BC7}"/>
                </a:ext>
              </a:extLst>
            </p:cNvPr>
            <p:cNvSpPr/>
            <p:nvPr/>
          </p:nvSpPr>
          <p:spPr>
            <a:xfrm>
              <a:off x="587211" y="3627353"/>
              <a:ext cx="948696" cy="948696"/>
            </a:xfrm>
            <a:prstGeom prst="donut">
              <a:avLst>
                <a:gd name="adj" fmla="val 4494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1BE75CA7-7414-D683-927F-E5F3D31E5D6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7658" y="3697800"/>
              <a:ext cx="807803" cy="8078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1" name="Inhaltsplatzhalter 4">
            <a:extLst>
              <a:ext uri="{FF2B5EF4-FFF2-40B4-BE49-F238E27FC236}">
                <a16:creationId xmlns:a16="http://schemas.microsoft.com/office/drawing/2014/main" id="{18E08DDE-1CCA-0925-0998-A295BF26DF0F}"/>
              </a:ext>
            </a:extLst>
          </p:cNvPr>
          <p:cNvSpPr txBox="1">
            <a:spLocks/>
          </p:cNvSpPr>
          <p:nvPr/>
        </p:nvSpPr>
        <p:spPr>
          <a:xfrm flipH="1">
            <a:off x="5432669" y="2997144"/>
            <a:ext cx="1330862" cy="32567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STNAME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POSITION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ACD15AA4-1FDF-C93F-8BF6-367C49C4023B}"/>
              </a:ext>
            </a:extLst>
          </p:cNvPr>
          <p:cNvSpPr/>
          <p:nvPr/>
        </p:nvSpPr>
        <p:spPr>
          <a:xfrm rot="5400000" flipV="1">
            <a:off x="1216630" y="3781653"/>
            <a:ext cx="1184600" cy="599983"/>
          </a:xfrm>
          <a:custGeom>
            <a:avLst/>
            <a:gdLst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7292 w 1177292"/>
              <a:gd name="connsiteY2" fmla="*/ 1879432 h 1879432"/>
              <a:gd name="connsiteX3" fmla="*/ 0 w 1177292"/>
              <a:gd name="connsiteY3" fmla="*/ 1879432 h 1879432"/>
              <a:gd name="connsiteX4" fmla="*/ 0 w 1177292"/>
              <a:gd name="connsiteY4" fmla="*/ 0 h 1879432"/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1575 w 1177292"/>
              <a:gd name="connsiteY2" fmla="*/ 954208 h 1879432"/>
              <a:gd name="connsiteX3" fmla="*/ 1177292 w 1177292"/>
              <a:gd name="connsiteY3" fmla="*/ 1879432 h 1879432"/>
              <a:gd name="connsiteX4" fmla="*/ 0 w 1177292"/>
              <a:gd name="connsiteY4" fmla="*/ 1879432 h 1879432"/>
              <a:gd name="connsiteX5" fmla="*/ 0 w 1177292"/>
              <a:gd name="connsiteY5" fmla="*/ 0 h 1879432"/>
              <a:gd name="connsiteX0" fmla="*/ 1171575 w 1263015"/>
              <a:gd name="connsiteY0" fmla="*/ 954208 h 1879432"/>
              <a:gd name="connsiteX1" fmla="*/ 1177292 w 1263015"/>
              <a:gd name="connsiteY1" fmla="*/ 1879432 h 1879432"/>
              <a:gd name="connsiteX2" fmla="*/ 0 w 1263015"/>
              <a:gd name="connsiteY2" fmla="*/ 1879432 h 1879432"/>
              <a:gd name="connsiteX3" fmla="*/ 0 w 1263015"/>
              <a:gd name="connsiteY3" fmla="*/ 0 h 1879432"/>
              <a:gd name="connsiteX4" fmla="*/ 1177292 w 1263015"/>
              <a:gd name="connsiteY4" fmla="*/ 0 h 1879432"/>
              <a:gd name="connsiteX5" fmla="*/ 1263015 w 1263015"/>
              <a:gd name="connsiteY5" fmla="*/ 1045648 h 1879432"/>
              <a:gd name="connsiteX0" fmla="*/ 1171575 w 1177292"/>
              <a:gd name="connsiteY0" fmla="*/ 954208 h 1879432"/>
              <a:gd name="connsiteX1" fmla="*/ 1177292 w 1177292"/>
              <a:gd name="connsiteY1" fmla="*/ 1879432 h 1879432"/>
              <a:gd name="connsiteX2" fmla="*/ 0 w 1177292"/>
              <a:gd name="connsiteY2" fmla="*/ 1879432 h 1879432"/>
              <a:gd name="connsiteX3" fmla="*/ 0 w 1177292"/>
              <a:gd name="connsiteY3" fmla="*/ 0 h 1879432"/>
              <a:gd name="connsiteX4" fmla="*/ 1177292 w 1177292"/>
              <a:gd name="connsiteY4" fmla="*/ 0 h 1879432"/>
              <a:gd name="connsiteX0" fmla="*/ 1177292 w 1177292"/>
              <a:gd name="connsiteY0" fmla="*/ 1879432 h 1879432"/>
              <a:gd name="connsiteX1" fmla="*/ 0 w 1177292"/>
              <a:gd name="connsiteY1" fmla="*/ 1879432 h 1879432"/>
              <a:gd name="connsiteX2" fmla="*/ 0 w 1177292"/>
              <a:gd name="connsiteY2" fmla="*/ 0 h 1879432"/>
              <a:gd name="connsiteX3" fmla="*/ 1177292 w 1177292"/>
              <a:gd name="connsiteY3" fmla="*/ 0 h 1879432"/>
              <a:gd name="connsiteX0" fmla="*/ 0 w 1177292"/>
              <a:gd name="connsiteY0" fmla="*/ 1879432 h 1879432"/>
              <a:gd name="connsiteX1" fmla="*/ 0 w 1177292"/>
              <a:gd name="connsiteY1" fmla="*/ 0 h 1879432"/>
              <a:gd name="connsiteX2" fmla="*/ 1177292 w 1177292"/>
              <a:gd name="connsiteY2" fmla="*/ 0 h 1879432"/>
              <a:gd name="connsiteX0" fmla="*/ 663 w 1177955"/>
              <a:gd name="connsiteY0" fmla="*/ 1879432 h 1879432"/>
              <a:gd name="connsiteX1" fmla="*/ 0 w 1177955"/>
              <a:gd name="connsiteY1" fmla="*/ 339432 h 1879432"/>
              <a:gd name="connsiteX2" fmla="*/ 663 w 1177955"/>
              <a:gd name="connsiteY2" fmla="*/ 0 h 1879432"/>
              <a:gd name="connsiteX3" fmla="*/ 1177955 w 1177955"/>
              <a:gd name="connsiteY3" fmla="*/ 0 h 1879432"/>
              <a:gd name="connsiteX0" fmla="*/ 0 w 1177955"/>
              <a:gd name="connsiteY0" fmla="*/ 339432 h 339432"/>
              <a:gd name="connsiteX1" fmla="*/ 663 w 1177955"/>
              <a:gd name="connsiteY1" fmla="*/ 0 h 339432"/>
              <a:gd name="connsiteX2" fmla="*/ 1177955 w 1177955"/>
              <a:gd name="connsiteY2" fmla="*/ 0 h 339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7955" h="339432">
                <a:moveTo>
                  <a:pt x="0" y="339432"/>
                </a:moveTo>
                <a:lnTo>
                  <a:pt x="663" y="0"/>
                </a:lnTo>
                <a:lnTo>
                  <a:pt x="1177955" y="0"/>
                </a:lnTo>
              </a:path>
            </a:pathLst>
          </a:custGeom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Rectangle 15">
            <a:extLst>
              <a:ext uri="{FF2B5EF4-FFF2-40B4-BE49-F238E27FC236}">
                <a16:creationId xmlns:a16="http://schemas.microsoft.com/office/drawing/2014/main" id="{7C0FD348-B333-527D-1672-67004907B714}"/>
              </a:ext>
            </a:extLst>
          </p:cNvPr>
          <p:cNvSpPr/>
          <p:nvPr/>
        </p:nvSpPr>
        <p:spPr>
          <a:xfrm rot="5400000">
            <a:off x="2979370" y="3770029"/>
            <a:ext cx="1184599" cy="623234"/>
          </a:xfrm>
          <a:custGeom>
            <a:avLst/>
            <a:gdLst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7292 w 1177292"/>
              <a:gd name="connsiteY2" fmla="*/ 1879432 h 1879432"/>
              <a:gd name="connsiteX3" fmla="*/ 0 w 1177292"/>
              <a:gd name="connsiteY3" fmla="*/ 1879432 h 1879432"/>
              <a:gd name="connsiteX4" fmla="*/ 0 w 1177292"/>
              <a:gd name="connsiteY4" fmla="*/ 0 h 1879432"/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1575 w 1177292"/>
              <a:gd name="connsiteY2" fmla="*/ 954208 h 1879432"/>
              <a:gd name="connsiteX3" fmla="*/ 1177292 w 1177292"/>
              <a:gd name="connsiteY3" fmla="*/ 1879432 h 1879432"/>
              <a:gd name="connsiteX4" fmla="*/ 0 w 1177292"/>
              <a:gd name="connsiteY4" fmla="*/ 1879432 h 1879432"/>
              <a:gd name="connsiteX5" fmla="*/ 0 w 1177292"/>
              <a:gd name="connsiteY5" fmla="*/ 0 h 1879432"/>
              <a:gd name="connsiteX0" fmla="*/ 1171575 w 1263015"/>
              <a:gd name="connsiteY0" fmla="*/ 954208 h 1879432"/>
              <a:gd name="connsiteX1" fmla="*/ 1177292 w 1263015"/>
              <a:gd name="connsiteY1" fmla="*/ 1879432 h 1879432"/>
              <a:gd name="connsiteX2" fmla="*/ 0 w 1263015"/>
              <a:gd name="connsiteY2" fmla="*/ 1879432 h 1879432"/>
              <a:gd name="connsiteX3" fmla="*/ 0 w 1263015"/>
              <a:gd name="connsiteY3" fmla="*/ 0 h 1879432"/>
              <a:gd name="connsiteX4" fmla="*/ 1177292 w 1263015"/>
              <a:gd name="connsiteY4" fmla="*/ 0 h 1879432"/>
              <a:gd name="connsiteX5" fmla="*/ 1263015 w 1263015"/>
              <a:gd name="connsiteY5" fmla="*/ 1045648 h 1879432"/>
              <a:gd name="connsiteX0" fmla="*/ 1171575 w 1177292"/>
              <a:gd name="connsiteY0" fmla="*/ 954208 h 1879432"/>
              <a:gd name="connsiteX1" fmla="*/ 1177292 w 1177292"/>
              <a:gd name="connsiteY1" fmla="*/ 1879432 h 1879432"/>
              <a:gd name="connsiteX2" fmla="*/ 0 w 1177292"/>
              <a:gd name="connsiteY2" fmla="*/ 1879432 h 1879432"/>
              <a:gd name="connsiteX3" fmla="*/ 0 w 1177292"/>
              <a:gd name="connsiteY3" fmla="*/ 0 h 1879432"/>
              <a:gd name="connsiteX4" fmla="*/ 1177292 w 1177292"/>
              <a:gd name="connsiteY4" fmla="*/ 0 h 1879432"/>
              <a:gd name="connsiteX0" fmla="*/ 1177292 w 1177292"/>
              <a:gd name="connsiteY0" fmla="*/ 1879432 h 1879432"/>
              <a:gd name="connsiteX1" fmla="*/ 0 w 1177292"/>
              <a:gd name="connsiteY1" fmla="*/ 1879432 h 1879432"/>
              <a:gd name="connsiteX2" fmla="*/ 0 w 1177292"/>
              <a:gd name="connsiteY2" fmla="*/ 0 h 1879432"/>
              <a:gd name="connsiteX3" fmla="*/ 1177292 w 1177292"/>
              <a:gd name="connsiteY3" fmla="*/ 0 h 1879432"/>
              <a:gd name="connsiteX0" fmla="*/ 0 w 1177292"/>
              <a:gd name="connsiteY0" fmla="*/ 1879432 h 1879432"/>
              <a:gd name="connsiteX1" fmla="*/ 0 w 1177292"/>
              <a:gd name="connsiteY1" fmla="*/ 0 h 1879432"/>
              <a:gd name="connsiteX2" fmla="*/ 1177292 w 1177292"/>
              <a:gd name="connsiteY2" fmla="*/ 0 h 1879432"/>
              <a:gd name="connsiteX0" fmla="*/ 663 w 1177955"/>
              <a:gd name="connsiteY0" fmla="*/ 1879432 h 1879432"/>
              <a:gd name="connsiteX1" fmla="*/ 0 w 1177955"/>
              <a:gd name="connsiteY1" fmla="*/ 339432 h 1879432"/>
              <a:gd name="connsiteX2" fmla="*/ 663 w 1177955"/>
              <a:gd name="connsiteY2" fmla="*/ 0 h 1879432"/>
              <a:gd name="connsiteX3" fmla="*/ 1177955 w 1177955"/>
              <a:gd name="connsiteY3" fmla="*/ 0 h 1879432"/>
              <a:gd name="connsiteX0" fmla="*/ 0 w 1177955"/>
              <a:gd name="connsiteY0" fmla="*/ 339432 h 339432"/>
              <a:gd name="connsiteX1" fmla="*/ 663 w 1177955"/>
              <a:gd name="connsiteY1" fmla="*/ 0 h 339432"/>
              <a:gd name="connsiteX2" fmla="*/ 1177955 w 1177955"/>
              <a:gd name="connsiteY2" fmla="*/ 0 h 339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7955" h="339432">
                <a:moveTo>
                  <a:pt x="0" y="339432"/>
                </a:moveTo>
                <a:lnTo>
                  <a:pt x="663" y="0"/>
                </a:lnTo>
                <a:lnTo>
                  <a:pt x="1177955" y="0"/>
                </a:lnTo>
              </a:path>
            </a:pathLst>
          </a:custGeom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9DF3E61-1873-1134-8187-AE879D965235}"/>
              </a:ext>
            </a:extLst>
          </p:cNvPr>
          <p:cNvGrpSpPr>
            <a:grpSpLocks noChangeAspect="1"/>
          </p:cNvGrpSpPr>
          <p:nvPr/>
        </p:nvGrpSpPr>
        <p:grpSpPr>
          <a:xfrm>
            <a:off x="2085862" y="2878388"/>
            <a:ext cx="1221902" cy="1221902"/>
            <a:chOff x="294317" y="3334459"/>
            <a:chExt cx="1534484" cy="1534484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43A9AE1F-0E72-3A49-8064-B70B0CAC2153}"/>
                </a:ext>
              </a:extLst>
            </p:cNvPr>
            <p:cNvSpPr/>
            <p:nvPr/>
          </p:nvSpPr>
          <p:spPr>
            <a:xfrm>
              <a:off x="294317" y="3334459"/>
              <a:ext cx="1534484" cy="153448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D65A9A06-9C18-BE6A-F23D-53C2D77FFDF3}"/>
                </a:ext>
              </a:extLst>
            </p:cNvPr>
            <p:cNvSpPr/>
            <p:nvPr/>
          </p:nvSpPr>
          <p:spPr>
            <a:xfrm>
              <a:off x="395284" y="3435426"/>
              <a:ext cx="1332550" cy="133255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0" name="Donut 75">
              <a:extLst>
                <a:ext uri="{FF2B5EF4-FFF2-40B4-BE49-F238E27FC236}">
                  <a16:creationId xmlns:a16="http://schemas.microsoft.com/office/drawing/2014/main" id="{4F395DB1-1F36-FB29-52AF-C0092BFD8A25}"/>
                </a:ext>
              </a:extLst>
            </p:cNvPr>
            <p:cNvSpPr/>
            <p:nvPr/>
          </p:nvSpPr>
          <p:spPr>
            <a:xfrm>
              <a:off x="587211" y="3627353"/>
              <a:ext cx="948696" cy="948696"/>
            </a:xfrm>
            <a:prstGeom prst="donut">
              <a:avLst>
                <a:gd name="adj" fmla="val 4494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9ADA8DD2-0562-5917-42CB-44DF1193A5E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7658" y="3697800"/>
              <a:ext cx="807803" cy="8078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8C98937-C8A4-DADA-D635-76E32223D3A4}"/>
              </a:ext>
            </a:extLst>
          </p:cNvPr>
          <p:cNvGrpSpPr>
            <a:grpSpLocks noChangeAspect="1"/>
          </p:cNvGrpSpPr>
          <p:nvPr/>
        </p:nvGrpSpPr>
        <p:grpSpPr>
          <a:xfrm>
            <a:off x="3403243" y="4620895"/>
            <a:ext cx="955309" cy="955309"/>
            <a:chOff x="294317" y="3334459"/>
            <a:chExt cx="1534484" cy="1534484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0E5EFA65-9A5E-DE03-54D1-BA72B9D10B18}"/>
                </a:ext>
              </a:extLst>
            </p:cNvPr>
            <p:cNvSpPr/>
            <p:nvPr/>
          </p:nvSpPr>
          <p:spPr>
            <a:xfrm>
              <a:off x="294317" y="3334459"/>
              <a:ext cx="1534484" cy="153448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F5A72028-72D1-862C-56FE-962F26BC40FD}"/>
                </a:ext>
              </a:extLst>
            </p:cNvPr>
            <p:cNvSpPr/>
            <p:nvPr/>
          </p:nvSpPr>
          <p:spPr>
            <a:xfrm>
              <a:off x="395284" y="3435426"/>
              <a:ext cx="1332550" cy="133255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6" name="Donut 71">
              <a:extLst>
                <a:ext uri="{FF2B5EF4-FFF2-40B4-BE49-F238E27FC236}">
                  <a16:creationId xmlns:a16="http://schemas.microsoft.com/office/drawing/2014/main" id="{01E95B4F-5F6D-AB9D-D540-71CC71DE6244}"/>
                </a:ext>
              </a:extLst>
            </p:cNvPr>
            <p:cNvSpPr/>
            <p:nvPr/>
          </p:nvSpPr>
          <p:spPr>
            <a:xfrm>
              <a:off x="587211" y="3627353"/>
              <a:ext cx="948696" cy="948696"/>
            </a:xfrm>
            <a:prstGeom prst="donut">
              <a:avLst>
                <a:gd name="adj" fmla="val 4494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EEB3CB9E-E670-ED04-3D66-7BCC05F6C2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7658" y="3697800"/>
              <a:ext cx="807803" cy="8078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977ED71-8805-92AC-F799-5B1624A371E3}"/>
              </a:ext>
            </a:extLst>
          </p:cNvPr>
          <p:cNvGrpSpPr>
            <a:grpSpLocks noChangeAspect="1"/>
          </p:cNvGrpSpPr>
          <p:nvPr/>
        </p:nvGrpSpPr>
        <p:grpSpPr>
          <a:xfrm>
            <a:off x="1025976" y="4620895"/>
            <a:ext cx="955309" cy="955309"/>
            <a:chOff x="294317" y="3334459"/>
            <a:chExt cx="1534484" cy="1534484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11536646-1947-B0F1-6917-50C8BEADDCB2}"/>
                </a:ext>
              </a:extLst>
            </p:cNvPr>
            <p:cNvSpPr/>
            <p:nvPr/>
          </p:nvSpPr>
          <p:spPr>
            <a:xfrm>
              <a:off x="294317" y="3334459"/>
              <a:ext cx="1534484" cy="153448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72A8F196-D452-7F0A-E8A4-6F0CF6689154}"/>
                </a:ext>
              </a:extLst>
            </p:cNvPr>
            <p:cNvSpPr/>
            <p:nvPr/>
          </p:nvSpPr>
          <p:spPr>
            <a:xfrm>
              <a:off x="395284" y="3435426"/>
              <a:ext cx="1332550" cy="133255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42" name="Donut 67">
              <a:extLst>
                <a:ext uri="{FF2B5EF4-FFF2-40B4-BE49-F238E27FC236}">
                  <a16:creationId xmlns:a16="http://schemas.microsoft.com/office/drawing/2014/main" id="{8E3B626F-C334-EE0F-9D81-A1134708154E}"/>
                </a:ext>
              </a:extLst>
            </p:cNvPr>
            <p:cNvSpPr/>
            <p:nvPr/>
          </p:nvSpPr>
          <p:spPr>
            <a:xfrm>
              <a:off x="587211" y="3627353"/>
              <a:ext cx="948696" cy="948696"/>
            </a:xfrm>
            <a:prstGeom prst="donut">
              <a:avLst>
                <a:gd name="adj" fmla="val 4494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A7D1BBF7-3C46-E2EF-C571-3E8BF33E3F8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7658" y="3697800"/>
              <a:ext cx="807803" cy="8078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7" name="Inhaltsplatzhalter 4">
            <a:extLst>
              <a:ext uri="{FF2B5EF4-FFF2-40B4-BE49-F238E27FC236}">
                <a16:creationId xmlns:a16="http://schemas.microsoft.com/office/drawing/2014/main" id="{FEF248B5-6749-AB5C-F0C1-084A4DE2FD6C}"/>
              </a:ext>
            </a:extLst>
          </p:cNvPr>
          <p:cNvSpPr txBox="1">
            <a:spLocks/>
          </p:cNvSpPr>
          <p:nvPr/>
        </p:nvSpPr>
        <p:spPr>
          <a:xfrm flipH="1">
            <a:off x="2031382" y="4201710"/>
            <a:ext cx="1330862" cy="32568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STNAME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POSITION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Inhaltsplatzhalter 4">
            <a:extLst>
              <a:ext uri="{FF2B5EF4-FFF2-40B4-BE49-F238E27FC236}">
                <a16:creationId xmlns:a16="http://schemas.microsoft.com/office/drawing/2014/main" id="{019F8C51-2074-FDC3-19B5-FB21C18C62F8}"/>
              </a:ext>
            </a:extLst>
          </p:cNvPr>
          <p:cNvSpPr txBox="1">
            <a:spLocks/>
          </p:cNvSpPr>
          <p:nvPr/>
        </p:nvSpPr>
        <p:spPr>
          <a:xfrm flipH="1">
            <a:off x="838200" y="5688332"/>
            <a:ext cx="1330862" cy="32568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STNAME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POSITION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Inhaltsplatzhalter 4">
            <a:extLst>
              <a:ext uri="{FF2B5EF4-FFF2-40B4-BE49-F238E27FC236}">
                <a16:creationId xmlns:a16="http://schemas.microsoft.com/office/drawing/2014/main" id="{E08C3B56-1B52-0993-3AFC-3C1C3C4896BC}"/>
              </a:ext>
            </a:extLst>
          </p:cNvPr>
          <p:cNvSpPr txBox="1">
            <a:spLocks/>
          </p:cNvSpPr>
          <p:nvPr/>
        </p:nvSpPr>
        <p:spPr>
          <a:xfrm flipH="1">
            <a:off x="3215467" y="5688332"/>
            <a:ext cx="1330862" cy="32568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STNAME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POSITION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13B273F0-C555-D56D-E226-07179D2A3E4F}"/>
              </a:ext>
            </a:extLst>
          </p:cNvPr>
          <p:cNvSpPr/>
          <p:nvPr/>
        </p:nvSpPr>
        <p:spPr>
          <a:xfrm rot="5400000" flipV="1">
            <a:off x="8024101" y="3781653"/>
            <a:ext cx="1184600" cy="599983"/>
          </a:xfrm>
          <a:custGeom>
            <a:avLst/>
            <a:gdLst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7292 w 1177292"/>
              <a:gd name="connsiteY2" fmla="*/ 1879432 h 1879432"/>
              <a:gd name="connsiteX3" fmla="*/ 0 w 1177292"/>
              <a:gd name="connsiteY3" fmla="*/ 1879432 h 1879432"/>
              <a:gd name="connsiteX4" fmla="*/ 0 w 1177292"/>
              <a:gd name="connsiteY4" fmla="*/ 0 h 1879432"/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1575 w 1177292"/>
              <a:gd name="connsiteY2" fmla="*/ 954208 h 1879432"/>
              <a:gd name="connsiteX3" fmla="*/ 1177292 w 1177292"/>
              <a:gd name="connsiteY3" fmla="*/ 1879432 h 1879432"/>
              <a:gd name="connsiteX4" fmla="*/ 0 w 1177292"/>
              <a:gd name="connsiteY4" fmla="*/ 1879432 h 1879432"/>
              <a:gd name="connsiteX5" fmla="*/ 0 w 1177292"/>
              <a:gd name="connsiteY5" fmla="*/ 0 h 1879432"/>
              <a:gd name="connsiteX0" fmla="*/ 1171575 w 1263015"/>
              <a:gd name="connsiteY0" fmla="*/ 954208 h 1879432"/>
              <a:gd name="connsiteX1" fmla="*/ 1177292 w 1263015"/>
              <a:gd name="connsiteY1" fmla="*/ 1879432 h 1879432"/>
              <a:gd name="connsiteX2" fmla="*/ 0 w 1263015"/>
              <a:gd name="connsiteY2" fmla="*/ 1879432 h 1879432"/>
              <a:gd name="connsiteX3" fmla="*/ 0 w 1263015"/>
              <a:gd name="connsiteY3" fmla="*/ 0 h 1879432"/>
              <a:gd name="connsiteX4" fmla="*/ 1177292 w 1263015"/>
              <a:gd name="connsiteY4" fmla="*/ 0 h 1879432"/>
              <a:gd name="connsiteX5" fmla="*/ 1263015 w 1263015"/>
              <a:gd name="connsiteY5" fmla="*/ 1045648 h 1879432"/>
              <a:gd name="connsiteX0" fmla="*/ 1171575 w 1177292"/>
              <a:gd name="connsiteY0" fmla="*/ 954208 h 1879432"/>
              <a:gd name="connsiteX1" fmla="*/ 1177292 w 1177292"/>
              <a:gd name="connsiteY1" fmla="*/ 1879432 h 1879432"/>
              <a:gd name="connsiteX2" fmla="*/ 0 w 1177292"/>
              <a:gd name="connsiteY2" fmla="*/ 1879432 h 1879432"/>
              <a:gd name="connsiteX3" fmla="*/ 0 w 1177292"/>
              <a:gd name="connsiteY3" fmla="*/ 0 h 1879432"/>
              <a:gd name="connsiteX4" fmla="*/ 1177292 w 1177292"/>
              <a:gd name="connsiteY4" fmla="*/ 0 h 1879432"/>
              <a:gd name="connsiteX0" fmla="*/ 1177292 w 1177292"/>
              <a:gd name="connsiteY0" fmla="*/ 1879432 h 1879432"/>
              <a:gd name="connsiteX1" fmla="*/ 0 w 1177292"/>
              <a:gd name="connsiteY1" fmla="*/ 1879432 h 1879432"/>
              <a:gd name="connsiteX2" fmla="*/ 0 w 1177292"/>
              <a:gd name="connsiteY2" fmla="*/ 0 h 1879432"/>
              <a:gd name="connsiteX3" fmla="*/ 1177292 w 1177292"/>
              <a:gd name="connsiteY3" fmla="*/ 0 h 1879432"/>
              <a:gd name="connsiteX0" fmla="*/ 0 w 1177292"/>
              <a:gd name="connsiteY0" fmla="*/ 1879432 h 1879432"/>
              <a:gd name="connsiteX1" fmla="*/ 0 w 1177292"/>
              <a:gd name="connsiteY1" fmla="*/ 0 h 1879432"/>
              <a:gd name="connsiteX2" fmla="*/ 1177292 w 1177292"/>
              <a:gd name="connsiteY2" fmla="*/ 0 h 1879432"/>
              <a:gd name="connsiteX0" fmla="*/ 663 w 1177955"/>
              <a:gd name="connsiteY0" fmla="*/ 1879432 h 1879432"/>
              <a:gd name="connsiteX1" fmla="*/ 0 w 1177955"/>
              <a:gd name="connsiteY1" fmla="*/ 339432 h 1879432"/>
              <a:gd name="connsiteX2" fmla="*/ 663 w 1177955"/>
              <a:gd name="connsiteY2" fmla="*/ 0 h 1879432"/>
              <a:gd name="connsiteX3" fmla="*/ 1177955 w 1177955"/>
              <a:gd name="connsiteY3" fmla="*/ 0 h 1879432"/>
              <a:gd name="connsiteX0" fmla="*/ 0 w 1177955"/>
              <a:gd name="connsiteY0" fmla="*/ 339432 h 339432"/>
              <a:gd name="connsiteX1" fmla="*/ 663 w 1177955"/>
              <a:gd name="connsiteY1" fmla="*/ 0 h 339432"/>
              <a:gd name="connsiteX2" fmla="*/ 1177955 w 1177955"/>
              <a:gd name="connsiteY2" fmla="*/ 0 h 339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7955" h="339432">
                <a:moveTo>
                  <a:pt x="0" y="339432"/>
                </a:moveTo>
                <a:lnTo>
                  <a:pt x="663" y="0"/>
                </a:lnTo>
                <a:lnTo>
                  <a:pt x="1177955" y="0"/>
                </a:lnTo>
              </a:path>
            </a:pathLst>
          </a:custGeom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1" name="Rectangle 15">
            <a:extLst>
              <a:ext uri="{FF2B5EF4-FFF2-40B4-BE49-F238E27FC236}">
                <a16:creationId xmlns:a16="http://schemas.microsoft.com/office/drawing/2014/main" id="{765A1902-2FA7-D10E-02BF-2ECEB07EC833}"/>
              </a:ext>
            </a:extLst>
          </p:cNvPr>
          <p:cNvSpPr/>
          <p:nvPr/>
        </p:nvSpPr>
        <p:spPr>
          <a:xfrm rot="5400000">
            <a:off x="9786841" y="3770029"/>
            <a:ext cx="1184599" cy="623234"/>
          </a:xfrm>
          <a:custGeom>
            <a:avLst/>
            <a:gdLst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7292 w 1177292"/>
              <a:gd name="connsiteY2" fmla="*/ 1879432 h 1879432"/>
              <a:gd name="connsiteX3" fmla="*/ 0 w 1177292"/>
              <a:gd name="connsiteY3" fmla="*/ 1879432 h 1879432"/>
              <a:gd name="connsiteX4" fmla="*/ 0 w 1177292"/>
              <a:gd name="connsiteY4" fmla="*/ 0 h 1879432"/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1575 w 1177292"/>
              <a:gd name="connsiteY2" fmla="*/ 954208 h 1879432"/>
              <a:gd name="connsiteX3" fmla="*/ 1177292 w 1177292"/>
              <a:gd name="connsiteY3" fmla="*/ 1879432 h 1879432"/>
              <a:gd name="connsiteX4" fmla="*/ 0 w 1177292"/>
              <a:gd name="connsiteY4" fmla="*/ 1879432 h 1879432"/>
              <a:gd name="connsiteX5" fmla="*/ 0 w 1177292"/>
              <a:gd name="connsiteY5" fmla="*/ 0 h 1879432"/>
              <a:gd name="connsiteX0" fmla="*/ 1171575 w 1263015"/>
              <a:gd name="connsiteY0" fmla="*/ 954208 h 1879432"/>
              <a:gd name="connsiteX1" fmla="*/ 1177292 w 1263015"/>
              <a:gd name="connsiteY1" fmla="*/ 1879432 h 1879432"/>
              <a:gd name="connsiteX2" fmla="*/ 0 w 1263015"/>
              <a:gd name="connsiteY2" fmla="*/ 1879432 h 1879432"/>
              <a:gd name="connsiteX3" fmla="*/ 0 w 1263015"/>
              <a:gd name="connsiteY3" fmla="*/ 0 h 1879432"/>
              <a:gd name="connsiteX4" fmla="*/ 1177292 w 1263015"/>
              <a:gd name="connsiteY4" fmla="*/ 0 h 1879432"/>
              <a:gd name="connsiteX5" fmla="*/ 1263015 w 1263015"/>
              <a:gd name="connsiteY5" fmla="*/ 1045648 h 1879432"/>
              <a:gd name="connsiteX0" fmla="*/ 1171575 w 1177292"/>
              <a:gd name="connsiteY0" fmla="*/ 954208 h 1879432"/>
              <a:gd name="connsiteX1" fmla="*/ 1177292 w 1177292"/>
              <a:gd name="connsiteY1" fmla="*/ 1879432 h 1879432"/>
              <a:gd name="connsiteX2" fmla="*/ 0 w 1177292"/>
              <a:gd name="connsiteY2" fmla="*/ 1879432 h 1879432"/>
              <a:gd name="connsiteX3" fmla="*/ 0 w 1177292"/>
              <a:gd name="connsiteY3" fmla="*/ 0 h 1879432"/>
              <a:gd name="connsiteX4" fmla="*/ 1177292 w 1177292"/>
              <a:gd name="connsiteY4" fmla="*/ 0 h 1879432"/>
              <a:gd name="connsiteX0" fmla="*/ 1177292 w 1177292"/>
              <a:gd name="connsiteY0" fmla="*/ 1879432 h 1879432"/>
              <a:gd name="connsiteX1" fmla="*/ 0 w 1177292"/>
              <a:gd name="connsiteY1" fmla="*/ 1879432 h 1879432"/>
              <a:gd name="connsiteX2" fmla="*/ 0 w 1177292"/>
              <a:gd name="connsiteY2" fmla="*/ 0 h 1879432"/>
              <a:gd name="connsiteX3" fmla="*/ 1177292 w 1177292"/>
              <a:gd name="connsiteY3" fmla="*/ 0 h 1879432"/>
              <a:gd name="connsiteX0" fmla="*/ 0 w 1177292"/>
              <a:gd name="connsiteY0" fmla="*/ 1879432 h 1879432"/>
              <a:gd name="connsiteX1" fmla="*/ 0 w 1177292"/>
              <a:gd name="connsiteY1" fmla="*/ 0 h 1879432"/>
              <a:gd name="connsiteX2" fmla="*/ 1177292 w 1177292"/>
              <a:gd name="connsiteY2" fmla="*/ 0 h 1879432"/>
              <a:gd name="connsiteX0" fmla="*/ 663 w 1177955"/>
              <a:gd name="connsiteY0" fmla="*/ 1879432 h 1879432"/>
              <a:gd name="connsiteX1" fmla="*/ 0 w 1177955"/>
              <a:gd name="connsiteY1" fmla="*/ 339432 h 1879432"/>
              <a:gd name="connsiteX2" fmla="*/ 663 w 1177955"/>
              <a:gd name="connsiteY2" fmla="*/ 0 h 1879432"/>
              <a:gd name="connsiteX3" fmla="*/ 1177955 w 1177955"/>
              <a:gd name="connsiteY3" fmla="*/ 0 h 1879432"/>
              <a:gd name="connsiteX0" fmla="*/ 0 w 1177955"/>
              <a:gd name="connsiteY0" fmla="*/ 339432 h 339432"/>
              <a:gd name="connsiteX1" fmla="*/ 663 w 1177955"/>
              <a:gd name="connsiteY1" fmla="*/ 0 h 339432"/>
              <a:gd name="connsiteX2" fmla="*/ 1177955 w 1177955"/>
              <a:gd name="connsiteY2" fmla="*/ 0 h 339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7955" h="339432">
                <a:moveTo>
                  <a:pt x="0" y="339432"/>
                </a:moveTo>
                <a:lnTo>
                  <a:pt x="663" y="0"/>
                </a:lnTo>
                <a:lnTo>
                  <a:pt x="1177955" y="0"/>
                </a:lnTo>
              </a:path>
            </a:pathLst>
          </a:custGeom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B419F04-5D57-857E-5AFA-79634656C0A6}"/>
              </a:ext>
            </a:extLst>
          </p:cNvPr>
          <p:cNvGrpSpPr>
            <a:grpSpLocks noChangeAspect="1"/>
          </p:cNvGrpSpPr>
          <p:nvPr/>
        </p:nvGrpSpPr>
        <p:grpSpPr>
          <a:xfrm>
            <a:off x="8893333" y="2878388"/>
            <a:ext cx="1221902" cy="1221902"/>
            <a:chOff x="294317" y="3334459"/>
            <a:chExt cx="1534484" cy="1534484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8B8A3B2D-DDB0-E4BD-8703-2ECE2FE4DDB7}"/>
                </a:ext>
              </a:extLst>
            </p:cNvPr>
            <p:cNvSpPr/>
            <p:nvPr/>
          </p:nvSpPr>
          <p:spPr>
            <a:xfrm>
              <a:off x="294317" y="3334459"/>
              <a:ext cx="1534484" cy="153448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EADE57F2-E9D4-A834-1F65-90CD0D2FA74E}"/>
                </a:ext>
              </a:extLst>
            </p:cNvPr>
            <p:cNvSpPr/>
            <p:nvPr/>
          </p:nvSpPr>
          <p:spPr>
            <a:xfrm>
              <a:off x="395284" y="3435426"/>
              <a:ext cx="1332550" cy="133255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8" name="Donut 160">
              <a:extLst>
                <a:ext uri="{FF2B5EF4-FFF2-40B4-BE49-F238E27FC236}">
                  <a16:creationId xmlns:a16="http://schemas.microsoft.com/office/drawing/2014/main" id="{429A13F6-3A8F-6496-B5CE-FBD25282323A}"/>
                </a:ext>
              </a:extLst>
            </p:cNvPr>
            <p:cNvSpPr/>
            <p:nvPr/>
          </p:nvSpPr>
          <p:spPr>
            <a:xfrm>
              <a:off x="587211" y="3627353"/>
              <a:ext cx="948696" cy="948696"/>
            </a:xfrm>
            <a:prstGeom prst="donut">
              <a:avLst>
                <a:gd name="adj" fmla="val 4494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7C41608-057D-402E-D0EF-ACF290F1B4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7658" y="3697800"/>
              <a:ext cx="807803" cy="8078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E6B8772-1929-877B-3C9C-0F8BF847538B}"/>
              </a:ext>
            </a:extLst>
          </p:cNvPr>
          <p:cNvGrpSpPr>
            <a:grpSpLocks noChangeAspect="1"/>
          </p:cNvGrpSpPr>
          <p:nvPr/>
        </p:nvGrpSpPr>
        <p:grpSpPr>
          <a:xfrm>
            <a:off x="10210714" y="4620895"/>
            <a:ext cx="955309" cy="955309"/>
            <a:chOff x="294317" y="3334459"/>
            <a:chExt cx="1534484" cy="1534484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1AE115C-8A2D-DF8B-4BBF-685420999981}"/>
                </a:ext>
              </a:extLst>
            </p:cNvPr>
            <p:cNvSpPr/>
            <p:nvPr/>
          </p:nvSpPr>
          <p:spPr>
            <a:xfrm>
              <a:off x="294317" y="3334459"/>
              <a:ext cx="1534484" cy="153448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62FDA06-ED5F-975D-8DC5-2F3890A86BEB}"/>
                </a:ext>
              </a:extLst>
            </p:cNvPr>
            <p:cNvSpPr/>
            <p:nvPr/>
          </p:nvSpPr>
          <p:spPr>
            <a:xfrm>
              <a:off x="395284" y="3435426"/>
              <a:ext cx="1332550" cy="133255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4" name="Donut 156">
              <a:extLst>
                <a:ext uri="{FF2B5EF4-FFF2-40B4-BE49-F238E27FC236}">
                  <a16:creationId xmlns:a16="http://schemas.microsoft.com/office/drawing/2014/main" id="{97A98DA3-5998-228A-8409-F63A2A508E4F}"/>
                </a:ext>
              </a:extLst>
            </p:cNvPr>
            <p:cNvSpPr/>
            <p:nvPr/>
          </p:nvSpPr>
          <p:spPr>
            <a:xfrm>
              <a:off x="587211" y="3627353"/>
              <a:ext cx="948696" cy="948696"/>
            </a:xfrm>
            <a:prstGeom prst="donut">
              <a:avLst>
                <a:gd name="adj" fmla="val 4494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892A35C5-14C7-A08B-FB2F-10865EC9D8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7658" y="3697800"/>
              <a:ext cx="807803" cy="8078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34FF701-430E-6229-47D3-B655A41F42E8}"/>
              </a:ext>
            </a:extLst>
          </p:cNvPr>
          <p:cNvGrpSpPr>
            <a:grpSpLocks noChangeAspect="1"/>
          </p:cNvGrpSpPr>
          <p:nvPr/>
        </p:nvGrpSpPr>
        <p:grpSpPr>
          <a:xfrm>
            <a:off x="7833447" y="4620895"/>
            <a:ext cx="955309" cy="955309"/>
            <a:chOff x="294317" y="3334459"/>
            <a:chExt cx="1534484" cy="1534484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2A20B47-E849-CDCF-2588-332EEAA6CAE7}"/>
                </a:ext>
              </a:extLst>
            </p:cNvPr>
            <p:cNvSpPr/>
            <p:nvPr/>
          </p:nvSpPr>
          <p:spPr>
            <a:xfrm>
              <a:off x="294317" y="3334459"/>
              <a:ext cx="1534484" cy="153448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00CCDF09-3CE7-F3B0-B0DD-A35149CD1676}"/>
                </a:ext>
              </a:extLst>
            </p:cNvPr>
            <p:cNvSpPr/>
            <p:nvPr/>
          </p:nvSpPr>
          <p:spPr>
            <a:xfrm>
              <a:off x="395284" y="3435426"/>
              <a:ext cx="1332550" cy="133255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0" name="Donut 152">
              <a:extLst>
                <a:ext uri="{FF2B5EF4-FFF2-40B4-BE49-F238E27FC236}">
                  <a16:creationId xmlns:a16="http://schemas.microsoft.com/office/drawing/2014/main" id="{2AD8092F-C7C9-5FA9-BC75-236147798F41}"/>
                </a:ext>
              </a:extLst>
            </p:cNvPr>
            <p:cNvSpPr/>
            <p:nvPr/>
          </p:nvSpPr>
          <p:spPr>
            <a:xfrm>
              <a:off x="587211" y="3627353"/>
              <a:ext cx="948696" cy="948696"/>
            </a:xfrm>
            <a:prstGeom prst="donut">
              <a:avLst>
                <a:gd name="adj" fmla="val 4494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1ABEC442-78DE-9537-F630-6F9F4A3AEB3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7658" y="3697800"/>
              <a:ext cx="807803" cy="8078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5" name="Inhaltsplatzhalter 4">
            <a:extLst>
              <a:ext uri="{FF2B5EF4-FFF2-40B4-BE49-F238E27FC236}">
                <a16:creationId xmlns:a16="http://schemas.microsoft.com/office/drawing/2014/main" id="{44847B56-4201-1ED8-5E5E-28AAB114C389}"/>
              </a:ext>
            </a:extLst>
          </p:cNvPr>
          <p:cNvSpPr txBox="1">
            <a:spLocks/>
          </p:cNvSpPr>
          <p:nvPr/>
        </p:nvSpPr>
        <p:spPr>
          <a:xfrm flipH="1">
            <a:off x="8838853" y="4201710"/>
            <a:ext cx="1330862" cy="32568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STNAME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POSITION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6" name="Inhaltsplatzhalter 4">
            <a:extLst>
              <a:ext uri="{FF2B5EF4-FFF2-40B4-BE49-F238E27FC236}">
                <a16:creationId xmlns:a16="http://schemas.microsoft.com/office/drawing/2014/main" id="{539923D2-4A32-408A-95B5-73D735438317}"/>
              </a:ext>
            </a:extLst>
          </p:cNvPr>
          <p:cNvSpPr txBox="1">
            <a:spLocks/>
          </p:cNvSpPr>
          <p:nvPr/>
        </p:nvSpPr>
        <p:spPr>
          <a:xfrm flipH="1">
            <a:off x="7645671" y="5688332"/>
            <a:ext cx="1330862" cy="32568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STNAME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POSITION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7" name="Inhaltsplatzhalter 4">
            <a:extLst>
              <a:ext uri="{FF2B5EF4-FFF2-40B4-BE49-F238E27FC236}">
                <a16:creationId xmlns:a16="http://schemas.microsoft.com/office/drawing/2014/main" id="{767FA99F-BCBA-68D4-0795-4B9FDFBC9719}"/>
              </a:ext>
            </a:extLst>
          </p:cNvPr>
          <p:cNvSpPr txBox="1">
            <a:spLocks/>
          </p:cNvSpPr>
          <p:nvPr/>
        </p:nvSpPr>
        <p:spPr>
          <a:xfrm flipH="1">
            <a:off x="10022938" y="5688332"/>
            <a:ext cx="1330862" cy="32568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STNAME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POSITION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74475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8</TotalTime>
  <Words>39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Org.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25</cp:revision>
  <dcterms:created xsi:type="dcterms:W3CDTF">2021-03-31T02:49:57Z</dcterms:created>
  <dcterms:modified xsi:type="dcterms:W3CDTF">2025-10-16T10:59:34Z</dcterms:modified>
  <cp:category/>
</cp:coreProperties>
</file>